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88" r:id="rId1"/>
    <p:sldMasterId id="2147483788" r:id="rId2"/>
    <p:sldMasterId id="2147483808" r:id="rId3"/>
    <p:sldMasterId id="2147483828" r:id="rId4"/>
    <p:sldMasterId id="2147483848" r:id="rId5"/>
    <p:sldMasterId id="2147483868" r:id="rId6"/>
  </p:sldMasterIdLst>
  <p:notesMasterIdLst>
    <p:notesMasterId r:id="rId16"/>
  </p:notesMasterIdLst>
  <p:sldIdLst>
    <p:sldId id="457" r:id="rId7"/>
    <p:sldId id="462" r:id="rId8"/>
    <p:sldId id="464" r:id="rId9"/>
    <p:sldId id="256" r:id="rId10"/>
    <p:sldId id="405" r:id="rId11"/>
    <p:sldId id="279" r:id="rId12"/>
    <p:sldId id="461" r:id="rId13"/>
    <p:sldId id="281" r:id="rId14"/>
    <p:sldId id="455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redit Suisse Headline" panose="020B0504030101020102" pitchFamily="34" charset="0"/>
      <p:regular r:id="rId21"/>
      <p:bold r:id="rId22"/>
    </p:embeddedFont>
    <p:embeddedFont>
      <p:font typeface="Credit Suisse Type Light" panose="020B0303040503020204" pitchFamily="34" charset="0"/>
      <p:regular r:id="rId23"/>
      <p:bold r:id="rId24"/>
      <p:italic r:id="rId25"/>
    </p:embeddedFont>
    <p:embeddedFont>
      <p:font typeface="Credit Suisse Type Roman" panose="020B0503040503020204" pitchFamily="34" charset="0"/>
      <p:regular r:id="rId26"/>
      <p:bold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>
          <p15:clr>
            <a:srgbClr val="A4A3A4"/>
          </p15:clr>
        </p15:guide>
        <p15:guide id="2" pos="3908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3749" userDrawn="1">
          <p15:clr>
            <a:srgbClr val="A4A3A4"/>
          </p15:clr>
        </p15:guide>
        <p15:guide id="5" pos="143">
          <p15:clr>
            <a:srgbClr val="A4A3A4"/>
          </p15:clr>
        </p15:guide>
        <p15:guide id="6" pos="7537">
          <p15:clr>
            <a:srgbClr val="A4A3A4"/>
          </p15:clr>
        </p15:guide>
        <p15:guide id="8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5682"/>
    <a:srgbClr val="4F8367"/>
    <a:srgbClr val="F0C352"/>
    <a:srgbClr val="EBAF34"/>
    <a:srgbClr val="B27500"/>
    <a:srgbClr val="507CAB"/>
    <a:srgbClr val="00274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242" y="306"/>
      </p:cViewPr>
      <p:guideLst>
        <p:guide orient="horz" pos="1049"/>
        <p:guide pos="3908"/>
        <p:guide orient="horz" pos="3793"/>
        <p:guide pos="3749"/>
        <p:guide pos="143"/>
        <p:guide pos="75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5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font" Target="fonts/font8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font" Target="fonts/font7.fntdata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font" Target="fonts/font3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9E7629-F64F-4747-91D6-1599EAF0EA61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877175-B6CC-4542-ADB7-BC41F1A38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124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607C18-8C08-448B-B9BC-2EEEA01465E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107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607C18-8C08-448B-B9BC-2EEEA01465E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1100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607C18-8C08-448B-B9BC-2EEEA01465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522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8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499629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1959393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995417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555292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2016882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0963455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85277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15560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833441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8450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18458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74844423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85342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188935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92364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2849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052019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630178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57277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689067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A2DC-A7F9-8F9B-B4D7-128E89E5D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D57E9A-FE0E-3B4B-BE9E-C2A8B331A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D7B98C-4BE0-D094-EB7A-538644971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A9119-B2C2-499C-8977-6A7101C65CB4}" type="datetimeFigureOut">
              <a:rPr lang="en-GB" smtClean="0"/>
              <a:t>19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B5E7C6-F7D3-3BA1-92EC-EAA502B2A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42419-DF58-4A02-7B50-D3312C1FE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A9CC4-4E9A-476E-AD77-FB741A0A221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920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96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391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9483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73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608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885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066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7480283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9285759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276494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335865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025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8338492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705428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6820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34365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7255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640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5566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35302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47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03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90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571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771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3367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11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628520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8171581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2298599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0385756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96866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23545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46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6275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26614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14279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79565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28225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792049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9220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514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64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468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63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744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8968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8204844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766262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5722879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7734700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5820308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5405853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2867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59029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5053629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7010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52467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8115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6157700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A2DC-A7F9-8F9B-B4D7-128E89E5D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D57E9A-FE0E-3B4B-BE9E-C2A8B331A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D7B98C-4BE0-D094-EB7A-538644971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A9119-B2C2-499C-8977-6A7101C65CB4}" type="datetimeFigureOut">
              <a:rPr lang="en-GB" smtClean="0"/>
              <a:t>19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B5E7C6-F7D3-3BA1-92EC-EAA502B2A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42419-DF58-4A02-7B50-D3312C1FE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A9CC4-4E9A-476E-AD77-FB741A0A221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1598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6657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256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1501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91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1888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1957064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324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9313844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7034101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393857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5797463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1689403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509085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7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23060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034350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1057768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182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3223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0412402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1484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021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376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74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76385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8054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Sample slides |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343086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7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vmlDrawing" Target="../drawings/vmlDrawing4.v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4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vmlDrawing" Target="../drawings/vmlDrawing6.v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2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4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E1436D9-F116-4999-A3D1-5B0370FA0AE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0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98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2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9336D1-6240-46E7-B41F-177ADDB84C15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0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6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AD74332-785E-49F7-98CE-7FADBC26F898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59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1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465DAC8-9454-48BD-BD01-EB5E830D39E7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84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99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4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EF6379C-C1FC-42B1-ADE5-D6DAFF801AB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0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8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Sample slides |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171BEA-EABC-4CD6-89E3-DA4C43C5729A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96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9.jpg"/><Relationship Id="rId4" Type="http://schemas.openxmlformats.org/officeDocument/2006/relationships/image" Target="../media/image12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FB64C-8C41-471C-86AB-5A8A95F1D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 Hackathon 20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BBF175-F903-4FC3-B910-1A3B3E81FC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972" y="2564904"/>
            <a:ext cx="7560000" cy="1046440"/>
          </a:xfrm>
        </p:spPr>
        <p:txBody>
          <a:bodyPr/>
          <a:lstStyle/>
          <a:p>
            <a:r>
              <a:rPr lang="en-US" dirty="0"/>
              <a:t>Team Cyber-</a:t>
            </a:r>
            <a:r>
              <a:rPr lang="en-US" dirty="0" err="1"/>
              <a:t>Wyber</a:t>
            </a:r>
            <a:endParaRPr lang="en-US" dirty="0"/>
          </a:p>
          <a:p>
            <a:r>
              <a:rPr lang="en-US" dirty="0"/>
              <a:t>Problem Statement 2 – MoM-bot</a:t>
            </a:r>
          </a:p>
        </p:txBody>
      </p:sp>
    </p:spTree>
    <p:extLst>
      <p:ext uri="{BB962C8B-B14F-4D97-AF65-F5344CB8AC3E}">
        <p14:creationId xmlns:p14="http://schemas.microsoft.com/office/powerpoint/2010/main" val="2273306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0DFE5-585C-417B-AB76-C89233CBD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US" b="1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0B5A8A03-126C-4DE8-99AB-0D0F0F9FD6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2A2B3A-EDD3-4C54-820A-B30088E893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1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5B61FE-17D9-4989-9184-F40BC4DC36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eam Introduc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30EFCD-9A30-42DF-85BE-9A3D51FE3C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2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4AD1EF-5CE6-48B5-A24E-EFFA88048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Proposed Solu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E86AEC1-D4C2-427F-8D45-0F3957B984F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3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221331-9AEE-40FA-AE96-F344F7DC56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11861D5-5160-40AA-A135-A8C2947A4E0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/>
              <a:t>4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449CB74-4D50-4299-ADA9-A200A721760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Future Scop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1FA86F9-E496-49EE-87F7-97D0EC46F2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/>
              <a:t>5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85DBCE0-917F-47C4-8068-FC027752C06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Learning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A7D2C62-B7FC-4D78-9B94-841184FB5CA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What have we learnt?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A2CCD9A-B746-4078-AC0F-1C37E430F9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/>
              <a:t>6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B637DDE-58F1-49FB-B13A-F80C6E27C13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Action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2988527-B6E5-43E5-8ED3-0AFB1F46F63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Courses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4556BFD-74AB-46E9-A465-8FB56FB0FF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Known Issues/Challenges</a:t>
            </a:r>
          </a:p>
        </p:txBody>
      </p:sp>
    </p:spTree>
    <p:extLst>
      <p:ext uri="{BB962C8B-B14F-4D97-AF65-F5344CB8AC3E}">
        <p14:creationId xmlns:p14="http://schemas.microsoft.com/office/powerpoint/2010/main" val="1529058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6494C-DE84-48E5-B0E6-3CBF2B1FF8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eam Introdu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094621-B02A-4FFC-BDD6-AE43CD70B7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432000" y="1664804"/>
            <a:ext cx="5760000" cy="4356000"/>
          </a:xfrm>
        </p:spPr>
        <p:txBody>
          <a:bodyPr/>
          <a:lstStyle/>
          <a:p>
            <a:r>
              <a:rPr lang="en-US" dirty="0"/>
              <a:t>Ashish Bhuyekar</a:t>
            </a:r>
          </a:p>
          <a:p>
            <a:pPr lvl="1"/>
            <a:r>
              <a:rPr lang="en-US" dirty="0"/>
              <a:t>Cybersecurity ASM (Attack Surface Management)</a:t>
            </a:r>
          </a:p>
          <a:p>
            <a:pPr lvl="2"/>
            <a:r>
              <a:rPr lang="en-US" dirty="0"/>
              <a:t>Data Management &amp; Analytics</a:t>
            </a:r>
          </a:p>
          <a:p>
            <a:r>
              <a:rPr lang="en-US" dirty="0"/>
              <a:t>Supriya Pentewad</a:t>
            </a:r>
          </a:p>
          <a:p>
            <a:pPr lvl="1"/>
            <a:r>
              <a:rPr lang="en-US" dirty="0"/>
              <a:t>Cybersecurity ASM</a:t>
            </a:r>
          </a:p>
          <a:p>
            <a:pPr lvl="2"/>
            <a:r>
              <a:rPr lang="en-US" dirty="0"/>
              <a:t>Engineering</a:t>
            </a:r>
          </a:p>
          <a:p>
            <a:r>
              <a:rPr lang="en-US" dirty="0"/>
              <a:t>Pooja Joya</a:t>
            </a:r>
          </a:p>
          <a:p>
            <a:pPr lvl="1"/>
            <a:r>
              <a:rPr lang="en-US" dirty="0"/>
              <a:t>Cyber SRE</a:t>
            </a:r>
          </a:p>
          <a:p>
            <a:r>
              <a:rPr lang="en-US" dirty="0"/>
              <a:t>Jessica Gonsalves</a:t>
            </a:r>
          </a:p>
          <a:p>
            <a:pPr lvl="1"/>
            <a:r>
              <a:rPr lang="en-US" dirty="0"/>
              <a:t>Cybersecurity ASM</a:t>
            </a:r>
          </a:p>
          <a:p>
            <a:pPr lvl="2"/>
            <a:r>
              <a:rPr lang="en-US" dirty="0"/>
              <a:t>Ops Engineering</a:t>
            </a:r>
          </a:p>
          <a:p>
            <a:r>
              <a:rPr lang="en-US" dirty="0"/>
              <a:t>Kaustubh Singh</a:t>
            </a:r>
          </a:p>
          <a:p>
            <a:pPr lvl="1"/>
            <a:r>
              <a:rPr lang="en-US" dirty="0"/>
              <a:t>Cyber SRE</a:t>
            </a:r>
          </a:p>
          <a:p>
            <a:pPr marL="0" lvl="2" indent="0">
              <a:buNone/>
            </a:pPr>
            <a:endParaRPr lang="en-US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3D56A2D9-E036-4051-988B-C5B54FE1DD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2878" r="2878"/>
          <a:stretch/>
        </p:blipFill>
        <p:spPr>
          <a:xfrm>
            <a:off x="267768" y="1448780"/>
            <a:ext cx="5868000" cy="4572000"/>
          </a:xfr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B7375-6A11-4761-86E4-B7897F5691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8585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53AAD869-7314-217E-E649-F923E9204A6F}"/>
              </a:ext>
            </a:extLst>
          </p:cNvPr>
          <p:cNvGrpSpPr/>
          <p:nvPr/>
        </p:nvGrpSpPr>
        <p:grpSpPr>
          <a:xfrm>
            <a:off x="879674" y="1343348"/>
            <a:ext cx="949520" cy="2564952"/>
            <a:chOff x="113211" y="1849349"/>
            <a:chExt cx="871945" cy="2530008"/>
          </a:xfrm>
        </p:grpSpPr>
        <p:sp>
          <p:nvSpPr>
            <p:cNvPr id="4" name="Donut 39">
              <a:extLst>
                <a:ext uri="{FF2B5EF4-FFF2-40B4-BE49-F238E27FC236}">
                  <a16:creationId xmlns:a16="http://schemas.microsoft.com/office/drawing/2014/main" id="{21F7005E-81E5-291F-B6AC-304F755B3846}"/>
                </a:ext>
              </a:extLst>
            </p:cNvPr>
            <p:cNvSpPr/>
            <p:nvPr/>
          </p:nvSpPr>
          <p:spPr>
            <a:xfrm>
              <a:off x="266717" y="1849349"/>
              <a:ext cx="575536" cy="575536"/>
            </a:xfrm>
            <a:custGeom>
              <a:avLst/>
              <a:gdLst/>
              <a:ahLst/>
              <a:cxnLst/>
              <a:rect l="l" t="t" r="r" b="b"/>
              <a:pathLst>
                <a:path w="3240000" h="3240000">
                  <a:moveTo>
                    <a:pt x="1152300" y="922782"/>
                  </a:moveTo>
                  <a:lnTo>
                    <a:pt x="2354400" y="1620000"/>
                  </a:lnTo>
                  <a:lnTo>
                    <a:pt x="1152300" y="2317218"/>
                  </a:lnTo>
                  <a:close/>
                  <a:moveTo>
                    <a:pt x="1620000" y="342403"/>
                  </a:moveTo>
                  <a:cubicBezTo>
                    <a:pt x="914403" y="342403"/>
                    <a:pt x="342403" y="914403"/>
                    <a:pt x="342403" y="1620000"/>
                  </a:cubicBezTo>
                  <a:cubicBezTo>
                    <a:pt x="342403" y="2325597"/>
                    <a:pt x="914403" y="2897597"/>
                    <a:pt x="1620000" y="2897597"/>
                  </a:cubicBezTo>
                  <a:cubicBezTo>
                    <a:pt x="2325597" y="2897597"/>
                    <a:pt x="2897597" y="2325597"/>
                    <a:pt x="2897597" y="1620000"/>
                  </a:cubicBezTo>
                  <a:cubicBezTo>
                    <a:pt x="2897597" y="914403"/>
                    <a:pt x="2325597" y="342403"/>
                    <a:pt x="1620000" y="342403"/>
                  </a:cubicBezTo>
                  <a:close/>
                  <a:moveTo>
                    <a:pt x="1620000" y="0"/>
                  </a:moveTo>
                  <a:cubicBezTo>
                    <a:pt x="2514701" y="0"/>
                    <a:pt x="3240000" y="725299"/>
                    <a:pt x="3240000" y="1620000"/>
                  </a:cubicBezTo>
                  <a:cubicBezTo>
                    <a:pt x="3240000" y="2514701"/>
                    <a:pt x="2514701" y="3240000"/>
                    <a:pt x="1620000" y="3240000"/>
                  </a:cubicBezTo>
                  <a:cubicBezTo>
                    <a:pt x="725299" y="3240000"/>
                    <a:pt x="0" y="2514701"/>
                    <a:pt x="0" y="1620000"/>
                  </a:cubicBezTo>
                  <a:cubicBezTo>
                    <a:pt x="0" y="725299"/>
                    <a:pt x="725299" y="0"/>
                    <a:pt x="162000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6686B00C-B136-10DB-FE61-C1D402360CCF}"/>
                </a:ext>
              </a:extLst>
            </p:cNvPr>
            <p:cNvSpPr/>
            <p:nvPr/>
          </p:nvSpPr>
          <p:spPr>
            <a:xfrm>
              <a:off x="256117" y="3476673"/>
              <a:ext cx="586136" cy="489963"/>
            </a:xfrm>
            <a:custGeom>
              <a:avLst/>
              <a:gdLst/>
              <a:ahLst/>
              <a:cxnLst/>
              <a:rect l="l" t="t" r="r" b="b"/>
              <a:pathLst>
                <a:path w="3186824" h="2663936">
                  <a:moveTo>
                    <a:pt x="2624444" y="2376100"/>
                  </a:moveTo>
                  <a:lnTo>
                    <a:pt x="2624444" y="2520100"/>
                  </a:lnTo>
                  <a:lnTo>
                    <a:pt x="2952463" y="2520100"/>
                  </a:lnTo>
                  <a:lnTo>
                    <a:pt x="2952463" y="2376100"/>
                  </a:lnTo>
                  <a:close/>
                  <a:moveTo>
                    <a:pt x="210911" y="2376100"/>
                  </a:moveTo>
                  <a:lnTo>
                    <a:pt x="210911" y="2520100"/>
                  </a:lnTo>
                  <a:lnTo>
                    <a:pt x="538930" y="2520100"/>
                  </a:lnTo>
                  <a:lnTo>
                    <a:pt x="538930" y="2376100"/>
                  </a:lnTo>
                  <a:close/>
                  <a:moveTo>
                    <a:pt x="2624444" y="2095269"/>
                  </a:moveTo>
                  <a:lnTo>
                    <a:pt x="2624444" y="2239269"/>
                  </a:lnTo>
                  <a:lnTo>
                    <a:pt x="2952463" y="2239269"/>
                  </a:lnTo>
                  <a:lnTo>
                    <a:pt x="2952463" y="2095269"/>
                  </a:lnTo>
                  <a:close/>
                  <a:moveTo>
                    <a:pt x="210911" y="2095269"/>
                  </a:moveTo>
                  <a:lnTo>
                    <a:pt x="210911" y="2239269"/>
                  </a:lnTo>
                  <a:lnTo>
                    <a:pt x="538930" y="2239269"/>
                  </a:lnTo>
                  <a:lnTo>
                    <a:pt x="538930" y="2095269"/>
                  </a:lnTo>
                  <a:close/>
                  <a:moveTo>
                    <a:pt x="2624444" y="1814436"/>
                  </a:moveTo>
                  <a:lnTo>
                    <a:pt x="2624444" y="1958436"/>
                  </a:lnTo>
                  <a:lnTo>
                    <a:pt x="2952463" y="1958436"/>
                  </a:lnTo>
                  <a:lnTo>
                    <a:pt x="2952463" y="1814436"/>
                  </a:lnTo>
                  <a:close/>
                  <a:moveTo>
                    <a:pt x="210911" y="1814436"/>
                  </a:moveTo>
                  <a:lnTo>
                    <a:pt x="210911" y="1958436"/>
                  </a:lnTo>
                  <a:lnTo>
                    <a:pt x="538930" y="1958436"/>
                  </a:lnTo>
                  <a:lnTo>
                    <a:pt x="538930" y="1814436"/>
                  </a:lnTo>
                  <a:close/>
                  <a:moveTo>
                    <a:pt x="2624444" y="1533603"/>
                  </a:moveTo>
                  <a:lnTo>
                    <a:pt x="2624444" y="1677603"/>
                  </a:lnTo>
                  <a:lnTo>
                    <a:pt x="2952463" y="1677603"/>
                  </a:lnTo>
                  <a:lnTo>
                    <a:pt x="2952463" y="1533603"/>
                  </a:lnTo>
                  <a:close/>
                  <a:moveTo>
                    <a:pt x="210911" y="1533603"/>
                  </a:moveTo>
                  <a:lnTo>
                    <a:pt x="210911" y="1677603"/>
                  </a:lnTo>
                  <a:lnTo>
                    <a:pt x="538930" y="1677603"/>
                  </a:lnTo>
                  <a:lnTo>
                    <a:pt x="538930" y="1533603"/>
                  </a:lnTo>
                  <a:close/>
                  <a:moveTo>
                    <a:pt x="2624444" y="1252770"/>
                  </a:moveTo>
                  <a:lnTo>
                    <a:pt x="2624444" y="1396770"/>
                  </a:lnTo>
                  <a:lnTo>
                    <a:pt x="2952463" y="1396770"/>
                  </a:lnTo>
                  <a:lnTo>
                    <a:pt x="2952463" y="1252770"/>
                  </a:lnTo>
                  <a:close/>
                  <a:moveTo>
                    <a:pt x="210911" y="1252770"/>
                  </a:moveTo>
                  <a:lnTo>
                    <a:pt x="210911" y="1396770"/>
                  </a:lnTo>
                  <a:lnTo>
                    <a:pt x="538930" y="1396770"/>
                  </a:lnTo>
                  <a:lnTo>
                    <a:pt x="538930" y="1252770"/>
                  </a:lnTo>
                  <a:close/>
                  <a:moveTo>
                    <a:pt x="2624444" y="971937"/>
                  </a:moveTo>
                  <a:lnTo>
                    <a:pt x="2624444" y="1115937"/>
                  </a:lnTo>
                  <a:lnTo>
                    <a:pt x="2952463" y="1115937"/>
                  </a:lnTo>
                  <a:lnTo>
                    <a:pt x="2952463" y="971937"/>
                  </a:lnTo>
                  <a:close/>
                  <a:moveTo>
                    <a:pt x="210911" y="971937"/>
                  </a:moveTo>
                  <a:lnTo>
                    <a:pt x="210911" y="1115937"/>
                  </a:lnTo>
                  <a:lnTo>
                    <a:pt x="538930" y="1115937"/>
                  </a:lnTo>
                  <a:lnTo>
                    <a:pt x="538930" y="971937"/>
                  </a:lnTo>
                  <a:close/>
                  <a:moveTo>
                    <a:pt x="2624444" y="691104"/>
                  </a:moveTo>
                  <a:lnTo>
                    <a:pt x="2624444" y="835104"/>
                  </a:lnTo>
                  <a:lnTo>
                    <a:pt x="2952463" y="835104"/>
                  </a:lnTo>
                  <a:lnTo>
                    <a:pt x="2952463" y="691104"/>
                  </a:lnTo>
                  <a:close/>
                  <a:moveTo>
                    <a:pt x="210911" y="691104"/>
                  </a:moveTo>
                  <a:lnTo>
                    <a:pt x="210911" y="835104"/>
                  </a:lnTo>
                  <a:lnTo>
                    <a:pt x="538930" y="835104"/>
                  </a:lnTo>
                  <a:lnTo>
                    <a:pt x="538930" y="691104"/>
                  </a:lnTo>
                  <a:close/>
                  <a:moveTo>
                    <a:pt x="988006" y="552354"/>
                  </a:moveTo>
                  <a:lnTo>
                    <a:pt x="988006" y="2111583"/>
                  </a:lnTo>
                  <a:lnTo>
                    <a:pt x="2332169" y="1331969"/>
                  </a:lnTo>
                  <a:close/>
                  <a:moveTo>
                    <a:pt x="2624444" y="410271"/>
                  </a:moveTo>
                  <a:lnTo>
                    <a:pt x="2624444" y="554271"/>
                  </a:lnTo>
                  <a:lnTo>
                    <a:pt x="2952463" y="554271"/>
                  </a:lnTo>
                  <a:lnTo>
                    <a:pt x="2952463" y="410271"/>
                  </a:lnTo>
                  <a:close/>
                  <a:moveTo>
                    <a:pt x="210911" y="410271"/>
                  </a:moveTo>
                  <a:lnTo>
                    <a:pt x="210911" y="554271"/>
                  </a:lnTo>
                  <a:lnTo>
                    <a:pt x="538930" y="554271"/>
                  </a:lnTo>
                  <a:lnTo>
                    <a:pt x="538930" y="410271"/>
                  </a:lnTo>
                  <a:close/>
                  <a:moveTo>
                    <a:pt x="2624444" y="129438"/>
                  </a:moveTo>
                  <a:lnTo>
                    <a:pt x="2624444" y="273438"/>
                  </a:lnTo>
                  <a:lnTo>
                    <a:pt x="2952463" y="273438"/>
                  </a:lnTo>
                  <a:lnTo>
                    <a:pt x="2952463" y="129438"/>
                  </a:lnTo>
                  <a:close/>
                  <a:moveTo>
                    <a:pt x="210911" y="129438"/>
                  </a:moveTo>
                  <a:lnTo>
                    <a:pt x="210911" y="273438"/>
                  </a:lnTo>
                  <a:lnTo>
                    <a:pt x="538930" y="273438"/>
                  </a:lnTo>
                  <a:lnTo>
                    <a:pt x="538930" y="129438"/>
                  </a:lnTo>
                  <a:close/>
                  <a:moveTo>
                    <a:pt x="0" y="0"/>
                  </a:moveTo>
                  <a:lnTo>
                    <a:pt x="3186824" y="0"/>
                  </a:lnTo>
                  <a:lnTo>
                    <a:pt x="3186824" y="2663936"/>
                  </a:lnTo>
                  <a:lnTo>
                    <a:pt x="0" y="266393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4934C72-6C8F-7D1B-F1B3-ECB431024A82}"/>
                </a:ext>
              </a:extLst>
            </p:cNvPr>
            <p:cNvSpPr txBox="1"/>
            <p:nvPr/>
          </p:nvSpPr>
          <p:spPr>
            <a:xfrm>
              <a:off x="123811" y="2637685"/>
              <a:ext cx="861345" cy="27699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Audio Call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88AF0D5-642D-EB87-FC90-A6D09A151DAA}"/>
                </a:ext>
              </a:extLst>
            </p:cNvPr>
            <p:cNvSpPr txBox="1"/>
            <p:nvPr/>
          </p:nvSpPr>
          <p:spPr>
            <a:xfrm>
              <a:off x="113211" y="4102358"/>
              <a:ext cx="861345" cy="27699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>
                  <a:solidFill>
                    <a:schemeClr val="bg1"/>
                  </a:solidFill>
                  <a:cs typeface="Arial" pitchFamily="34" charset="0"/>
                </a:rPr>
                <a:t>Video Call</a:t>
              </a:r>
              <a:endParaRPr lang="ko-KR" altLang="en-US" sz="12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12" name="Oval 21">
            <a:extLst>
              <a:ext uri="{FF2B5EF4-FFF2-40B4-BE49-F238E27FC236}">
                <a16:creationId xmlns:a16="http://schemas.microsoft.com/office/drawing/2014/main" id="{2BE411EE-BA35-09C6-D53B-7B42BD1CCCAF}"/>
              </a:ext>
            </a:extLst>
          </p:cNvPr>
          <p:cNvSpPr>
            <a:spLocks noChangeAspect="1"/>
          </p:cNvSpPr>
          <p:nvPr/>
        </p:nvSpPr>
        <p:spPr>
          <a:xfrm>
            <a:off x="3995812" y="2070365"/>
            <a:ext cx="1128831" cy="1138259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7" name="Rounded Rectangle 6">
            <a:extLst>
              <a:ext uri="{FF2B5EF4-FFF2-40B4-BE49-F238E27FC236}">
                <a16:creationId xmlns:a16="http://schemas.microsoft.com/office/drawing/2014/main" id="{0CC47040-D92D-FFDC-A931-B4E7951F2A1A}"/>
              </a:ext>
            </a:extLst>
          </p:cNvPr>
          <p:cNvSpPr/>
          <p:nvPr/>
        </p:nvSpPr>
        <p:spPr>
          <a:xfrm>
            <a:off x="7245014" y="2090370"/>
            <a:ext cx="1008504" cy="1070907"/>
          </a:xfrm>
          <a:custGeom>
            <a:avLst/>
            <a:gdLst/>
            <a:ahLst/>
            <a:cxnLst/>
            <a:rect l="l" t="t" r="r" b="b"/>
            <a:pathLst>
              <a:path w="3186824" h="3060919">
                <a:moveTo>
                  <a:pt x="1045874" y="2696689"/>
                </a:moveTo>
                <a:lnTo>
                  <a:pt x="2125874" y="2696689"/>
                </a:lnTo>
                <a:lnTo>
                  <a:pt x="2125874" y="2804689"/>
                </a:lnTo>
                <a:lnTo>
                  <a:pt x="1045874" y="2804689"/>
                </a:lnTo>
                <a:close/>
                <a:moveTo>
                  <a:pt x="1045874" y="2410468"/>
                </a:moveTo>
                <a:lnTo>
                  <a:pt x="2125874" y="2410468"/>
                </a:lnTo>
                <a:lnTo>
                  <a:pt x="2125874" y="2518468"/>
                </a:lnTo>
                <a:lnTo>
                  <a:pt x="1045874" y="2518468"/>
                </a:lnTo>
                <a:close/>
                <a:moveTo>
                  <a:pt x="1045874" y="2124247"/>
                </a:moveTo>
                <a:lnTo>
                  <a:pt x="2125874" y="2124247"/>
                </a:lnTo>
                <a:lnTo>
                  <a:pt x="2125874" y="2232247"/>
                </a:lnTo>
                <a:lnTo>
                  <a:pt x="1045874" y="2232247"/>
                </a:lnTo>
                <a:close/>
                <a:moveTo>
                  <a:pt x="902547" y="1956791"/>
                </a:moveTo>
                <a:lnTo>
                  <a:pt x="902547" y="2109191"/>
                </a:lnTo>
                <a:lnTo>
                  <a:pt x="902547" y="2185391"/>
                </a:lnTo>
                <a:lnTo>
                  <a:pt x="902547" y="2376263"/>
                </a:lnTo>
                <a:lnTo>
                  <a:pt x="902547" y="2973921"/>
                </a:lnTo>
                <a:lnTo>
                  <a:pt x="2284277" y="2973921"/>
                </a:lnTo>
                <a:lnTo>
                  <a:pt x="2284277" y="2376263"/>
                </a:lnTo>
                <a:lnTo>
                  <a:pt x="2284277" y="2185391"/>
                </a:lnTo>
                <a:lnTo>
                  <a:pt x="2284277" y="2109191"/>
                </a:lnTo>
                <a:lnTo>
                  <a:pt x="2284277" y="1956791"/>
                </a:lnTo>
                <a:close/>
                <a:moveTo>
                  <a:pt x="469172" y="1728191"/>
                </a:moveTo>
                <a:lnTo>
                  <a:pt x="469172" y="2185391"/>
                </a:lnTo>
                <a:lnTo>
                  <a:pt x="767127" y="2185391"/>
                </a:lnTo>
                <a:lnTo>
                  <a:pt x="767127" y="2109191"/>
                </a:lnTo>
                <a:lnTo>
                  <a:pt x="545372" y="2109191"/>
                </a:lnTo>
                <a:lnTo>
                  <a:pt x="545372" y="1804391"/>
                </a:lnTo>
                <a:lnTo>
                  <a:pt x="2641452" y="1804391"/>
                </a:lnTo>
                <a:lnTo>
                  <a:pt x="2641452" y="2109191"/>
                </a:lnTo>
                <a:lnTo>
                  <a:pt x="2419697" y="2109191"/>
                </a:lnTo>
                <a:lnTo>
                  <a:pt x="2419697" y="2185391"/>
                </a:lnTo>
                <a:lnTo>
                  <a:pt x="2717652" y="2185391"/>
                </a:lnTo>
                <a:lnTo>
                  <a:pt x="2717652" y="1728191"/>
                </a:lnTo>
                <a:close/>
                <a:moveTo>
                  <a:pt x="2819005" y="1350909"/>
                </a:moveTo>
                <a:cubicBezTo>
                  <a:pt x="2769294" y="1350909"/>
                  <a:pt x="2728995" y="1391208"/>
                  <a:pt x="2728995" y="1440919"/>
                </a:cubicBezTo>
                <a:cubicBezTo>
                  <a:pt x="2728995" y="1490630"/>
                  <a:pt x="2769294" y="1530929"/>
                  <a:pt x="2819005" y="1530929"/>
                </a:cubicBezTo>
                <a:cubicBezTo>
                  <a:pt x="2868716" y="1530929"/>
                  <a:pt x="2909015" y="1490630"/>
                  <a:pt x="2909015" y="1440919"/>
                </a:cubicBezTo>
                <a:cubicBezTo>
                  <a:pt x="2909015" y="1391208"/>
                  <a:pt x="2868716" y="1350909"/>
                  <a:pt x="2819005" y="1350909"/>
                </a:cubicBezTo>
                <a:close/>
                <a:moveTo>
                  <a:pt x="2509707" y="1350909"/>
                </a:moveTo>
                <a:cubicBezTo>
                  <a:pt x="2459996" y="1350909"/>
                  <a:pt x="2419697" y="1391208"/>
                  <a:pt x="2419697" y="1440919"/>
                </a:cubicBezTo>
                <a:cubicBezTo>
                  <a:pt x="2419697" y="1490630"/>
                  <a:pt x="2459996" y="1530929"/>
                  <a:pt x="2509707" y="1530929"/>
                </a:cubicBezTo>
                <a:cubicBezTo>
                  <a:pt x="2559418" y="1530929"/>
                  <a:pt x="2599717" y="1490630"/>
                  <a:pt x="2599717" y="1440919"/>
                </a:cubicBezTo>
                <a:cubicBezTo>
                  <a:pt x="2599717" y="1391208"/>
                  <a:pt x="2559418" y="1350909"/>
                  <a:pt x="2509707" y="1350909"/>
                </a:cubicBezTo>
                <a:close/>
                <a:moveTo>
                  <a:pt x="195993" y="1200328"/>
                </a:moveTo>
                <a:lnTo>
                  <a:pt x="2990831" y="1200328"/>
                </a:lnTo>
                <a:cubicBezTo>
                  <a:pt x="3099075" y="1200328"/>
                  <a:pt x="3186824" y="1288077"/>
                  <a:pt x="3186824" y="1396321"/>
                </a:cubicBezTo>
                <a:lnTo>
                  <a:pt x="3186824" y="2180270"/>
                </a:lnTo>
                <a:cubicBezTo>
                  <a:pt x="3186824" y="2288514"/>
                  <a:pt x="3099075" y="2376263"/>
                  <a:pt x="2990831" y="2376263"/>
                </a:cubicBezTo>
                <a:lnTo>
                  <a:pt x="2419697" y="2376263"/>
                </a:lnTo>
                <a:lnTo>
                  <a:pt x="2419697" y="3060919"/>
                </a:lnTo>
                <a:lnTo>
                  <a:pt x="767127" y="3060919"/>
                </a:lnTo>
                <a:lnTo>
                  <a:pt x="767127" y="2376263"/>
                </a:lnTo>
                <a:lnTo>
                  <a:pt x="195993" y="2376263"/>
                </a:lnTo>
                <a:cubicBezTo>
                  <a:pt x="87749" y="2376263"/>
                  <a:pt x="0" y="2288514"/>
                  <a:pt x="0" y="2180270"/>
                </a:cubicBezTo>
                <a:lnTo>
                  <a:pt x="0" y="1396321"/>
                </a:lnTo>
                <a:cubicBezTo>
                  <a:pt x="0" y="1288077"/>
                  <a:pt x="87749" y="1200328"/>
                  <a:pt x="195993" y="1200328"/>
                </a:cubicBezTo>
                <a:close/>
                <a:moveTo>
                  <a:pt x="767127" y="0"/>
                </a:moveTo>
                <a:lnTo>
                  <a:pt x="2419697" y="0"/>
                </a:lnTo>
                <a:lnTo>
                  <a:pt x="2419697" y="190589"/>
                </a:lnTo>
                <a:lnTo>
                  <a:pt x="2565249" y="190589"/>
                </a:lnTo>
                <a:cubicBezTo>
                  <a:pt x="2649419" y="190589"/>
                  <a:pt x="2717652" y="258822"/>
                  <a:pt x="2717652" y="342992"/>
                </a:cubicBezTo>
                <a:lnTo>
                  <a:pt x="2717652" y="1104989"/>
                </a:lnTo>
                <a:lnTo>
                  <a:pt x="2284277" y="1104989"/>
                </a:lnTo>
                <a:lnTo>
                  <a:pt x="2284277" y="1104128"/>
                </a:lnTo>
                <a:lnTo>
                  <a:pt x="2284277" y="190589"/>
                </a:lnTo>
                <a:lnTo>
                  <a:pt x="2284277" y="96523"/>
                </a:lnTo>
                <a:lnTo>
                  <a:pt x="902547" y="96523"/>
                </a:lnTo>
                <a:lnTo>
                  <a:pt x="902547" y="190589"/>
                </a:lnTo>
                <a:lnTo>
                  <a:pt x="902547" y="1104128"/>
                </a:lnTo>
                <a:lnTo>
                  <a:pt x="902547" y="1104989"/>
                </a:lnTo>
                <a:lnTo>
                  <a:pt x="469172" y="1104989"/>
                </a:lnTo>
                <a:lnTo>
                  <a:pt x="469172" y="342992"/>
                </a:lnTo>
                <a:cubicBezTo>
                  <a:pt x="469172" y="258822"/>
                  <a:pt x="537405" y="190589"/>
                  <a:pt x="621575" y="190589"/>
                </a:cubicBezTo>
                <a:lnTo>
                  <a:pt x="767127" y="190589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5" name="Isosceles Triangle 51">
            <a:extLst>
              <a:ext uri="{FF2B5EF4-FFF2-40B4-BE49-F238E27FC236}">
                <a16:creationId xmlns:a16="http://schemas.microsoft.com/office/drawing/2014/main" id="{48109C94-52EF-2DE1-14F8-064FC52D13C1}"/>
              </a:ext>
            </a:extLst>
          </p:cNvPr>
          <p:cNvSpPr/>
          <p:nvPr/>
        </p:nvSpPr>
        <p:spPr>
          <a:xfrm>
            <a:off x="10474122" y="1933886"/>
            <a:ext cx="756291" cy="558285"/>
          </a:xfrm>
          <a:custGeom>
            <a:avLst/>
            <a:gdLst/>
            <a:ahLst/>
            <a:cxnLst/>
            <a:rect l="l" t="t" r="r" b="b"/>
            <a:pathLst>
              <a:path w="3240001" h="2375905">
                <a:moveTo>
                  <a:pt x="1974640" y="1379575"/>
                </a:moveTo>
                <a:lnTo>
                  <a:pt x="3240001" y="2375905"/>
                </a:lnTo>
                <a:lnTo>
                  <a:pt x="1" y="2375905"/>
                </a:lnTo>
                <a:lnTo>
                  <a:pt x="1269863" y="1399042"/>
                </a:lnTo>
                <a:lnTo>
                  <a:pt x="1610574" y="1745545"/>
                </a:lnTo>
                <a:close/>
                <a:moveTo>
                  <a:pt x="3240001" y="126952"/>
                </a:moveTo>
                <a:lnTo>
                  <a:pt x="3240001" y="2258912"/>
                </a:lnTo>
                <a:lnTo>
                  <a:pt x="2032457" y="1334195"/>
                </a:lnTo>
                <a:close/>
                <a:moveTo>
                  <a:pt x="0" y="117525"/>
                </a:moveTo>
                <a:lnTo>
                  <a:pt x="1207545" y="1324768"/>
                </a:lnTo>
                <a:lnTo>
                  <a:pt x="0" y="2249485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1610572" y="162051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4C7DBECB-9FFC-98A6-0C7F-1186237FB455}"/>
              </a:ext>
            </a:extLst>
          </p:cNvPr>
          <p:cNvSpPr/>
          <p:nvPr/>
        </p:nvSpPr>
        <p:spPr>
          <a:xfrm>
            <a:off x="10525711" y="2877606"/>
            <a:ext cx="653112" cy="612272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1AAD1E1-C776-2514-246D-CBE3A6A5A69B}"/>
              </a:ext>
            </a:extLst>
          </p:cNvPr>
          <p:cNvGrpSpPr/>
          <p:nvPr/>
        </p:nvGrpSpPr>
        <p:grpSpPr>
          <a:xfrm>
            <a:off x="326843" y="4084854"/>
            <a:ext cx="2160000" cy="2304256"/>
            <a:chOff x="613118" y="3965848"/>
            <a:chExt cx="1779592" cy="2304256"/>
          </a:xfrm>
          <a:solidFill>
            <a:schemeClr val="accent2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2A1C242-394F-FA19-5582-22599977AFD2}"/>
                </a:ext>
              </a:extLst>
            </p:cNvPr>
            <p:cNvSpPr/>
            <p:nvPr/>
          </p:nvSpPr>
          <p:spPr>
            <a:xfrm>
              <a:off x="613119" y="3965848"/>
              <a:ext cx="1779591" cy="960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0" name="Rectangle 8">
              <a:extLst>
                <a:ext uri="{FF2B5EF4-FFF2-40B4-BE49-F238E27FC236}">
                  <a16:creationId xmlns:a16="http://schemas.microsoft.com/office/drawing/2014/main" id="{C059A339-FDB1-429E-AFDF-8C988736C8E5}"/>
                </a:ext>
              </a:extLst>
            </p:cNvPr>
            <p:cNvSpPr/>
            <p:nvPr/>
          </p:nvSpPr>
          <p:spPr>
            <a:xfrm>
              <a:off x="613118" y="4157869"/>
              <a:ext cx="1779592" cy="2112235"/>
            </a:xfrm>
            <a:custGeom>
              <a:avLst/>
              <a:gdLst/>
              <a:ahLst/>
              <a:cxnLst/>
              <a:rect l="l" t="t" r="r" b="b"/>
              <a:pathLst>
                <a:path w="1597476" h="1584176">
                  <a:moveTo>
                    <a:pt x="0" y="0"/>
                  </a:moveTo>
                  <a:lnTo>
                    <a:pt x="1597475" y="0"/>
                  </a:lnTo>
                  <a:lnTo>
                    <a:pt x="1597475" y="785438"/>
                  </a:lnTo>
                  <a:lnTo>
                    <a:pt x="1597476" y="785438"/>
                  </a:lnTo>
                  <a:lnTo>
                    <a:pt x="1597476" y="1413018"/>
                  </a:lnTo>
                  <a:lnTo>
                    <a:pt x="798738" y="1584176"/>
                  </a:lnTo>
                  <a:lnTo>
                    <a:pt x="0" y="1413018"/>
                  </a:lnTo>
                  <a:lnTo>
                    <a:pt x="0" y="936104"/>
                  </a:lnTo>
                  <a:lnTo>
                    <a:pt x="0" y="78543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altLang="ko-KR" sz="2000" b="1" dirty="0"/>
                <a:t>Sour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100" b="1" dirty="0"/>
                <a:t>Meeting recordings are captured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altLang="ko-KR" sz="11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100" b="1" dirty="0"/>
                <a:t>Stored at central location space allocated teamwise.</a:t>
              </a:r>
              <a:endParaRPr lang="en-GB" altLang="ko-KR" sz="2700" dirty="0"/>
            </a:p>
            <a:p>
              <a:pPr algn="ctr"/>
              <a:endParaRPr lang="en-GB" altLang="ko-KR" sz="2700" dirty="0"/>
            </a:p>
            <a:p>
              <a:pPr algn="ctr"/>
              <a:endParaRPr lang="ko-KR" altLang="en-US" sz="2700" dirty="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4707925-804C-B5DC-92F4-5A535887BF68}"/>
              </a:ext>
            </a:extLst>
          </p:cNvPr>
          <p:cNvGrpSpPr/>
          <p:nvPr/>
        </p:nvGrpSpPr>
        <p:grpSpPr>
          <a:xfrm>
            <a:off x="3431606" y="4074953"/>
            <a:ext cx="2160000" cy="2304256"/>
            <a:chOff x="613118" y="3965848"/>
            <a:chExt cx="1779592" cy="2304256"/>
          </a:xfrm>
          <a:solidFill>
            <a:schemeClr val="accent4"/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63787CB-2F86-895E-389A-D8319D543065}"/>
                </a:ext>
              </a:extLst>
            </p:cNvPr>
            <p:cNvSpPr/>
            <p:nvPr/>
          </p:nvSpPr>
          <p:spPr>
            <a:xfrm>
              <a:off x="613119" y="3965848"/>
              <a:ext cx="1779591" cy="96011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 dirty="0">
                <a:solidFill>
                  <a:schemeClr val="dk1"/>
                </a:solidFill>
              </a:endParaRPr>
            </a:p>
          </p:txBody>
        </p:sp>
        <p:sp>
          <p:nvSpPr>
            <p:cNvPr id="43" name="Rectangle 8">
              <a:extLst>
                <a:ext uri="{FF2B5EF4-FFF2-40B4-BE49-F238E27FC236}">
                  <a16:creationId xmlns:a16="http://schemas.microsoft.com/office/drawing/2014/main" id="{C0D29BA3-746A-CDE9-2318-F8158F74D3CD}"/>
                </a:ext>
              </a:extLst>
            </p:cNvPr>
            <p:cNvSpPr/>
            <p:nvPr/>
          </p:nvSpPr>
          <p:spPr>
            <a:xfrm>
              <a:off x="613118" y="4157869"/>
              <a:ext cx="1779592" cy="2112235"/>
            </a:xfrm>
            <a:custGeom>
              <a:avLst/>
              <a:gdLst/>
              <a:ahLst/>
              <a:cxnLst/>
              <a:rect l="l" t="t" r="r" b="b"/>
              <a:pathLst>
                <a:path w="1597476" h="1584176">
                  <a:moveTo>
                    <a:pt x="0" y="0"/>
                  </a:moveTo>
                  <a:lnTo>
                    <a:pt x="1597475" y="0"/>
                  </a:lnTo>
                  <a:lnTo>
                    <a:pt x="1597475" y="785438"/>
                  </a:lnTo>
                  <a:lnTo>
                    <a:pt x="1597476" y="785438"/>
                  </a:lnTo>
                  <a:lnTo>
                    <a:pt x="1597476" y="1413018"/>
                  </a:lnTo>
                  <a:lnTo>
                    <a:pt x="798738" y="1584176"/>
                  </a:lnTo>
                  <a:lnTo>
                    <a:pt x="0" y="1413018"/>
                  </a:lnTo>
                  <a:lnTo>
                    <a:pt x="0" y="936104"/>
                  </a:lnTo>
                  <a:lnTo>
                    <a:pt x="0" y="785438"/>
                  </a:lnTo>
                  <a:close/>
                </a:path>
              </a:pathLst>
            </a:cu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altLang="ko-KR" sz="2000" b="1" dirty="0">
                  <a:solidFill>
                    <a:schemeClr val="bg1"/>
                  </a:solidFill>
                </a:rPr>
                <a:t>Process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altLang="ko-KR" sz="1100" b="1" dirty="0">
                  <a:solidFill>
                    <a:schemeClr val="bg1"/>
                  </a:solidFill>
                </a:rPr>
                <a:t>Audio and Video Data is processing</a:t>
              </a:r>
              <a:r>
                <a:rPr lang="en-GB" altLang="ko-KR" sz="1400" b="1" dirty="0">
                  <a:solidFill>
                    <a:schemeClr val="bg1"/>
                  </a:solidFill>
                </a:rPr>
                <a:t>.</a:t>
              </a:r>
            </a:p>
            <a:p>
              <a:endParaRPr lang="en-GB" altLang="ko-KR" sz="1400" b="1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altLang="ko-KR" sz="1100" b="1" dirty="0">
                  <a:solidFill>
                    <a:schemeClr val="bg1"/>
                  </a:solidFill>
                </a:rPr>
                <a:t>Speech-to-text conversion is performed using ML algorithm.</a:t>
              </a:r>
              <a:endParaRPr lang="en-GB" altLang="ko-KR" sz="2000" b="1" dirty="0">
                <a:solidFill>
                  <a:schemeClr val="dk1"/>
                </a:solidFill>
              </a:endParaRPr>
            </a:p>
            <a:p>
              <a:pPr algn="ctr"/>
              <a:endParaRPr lang="en-GB" altLang="ko-KR" sz="2000" b="1" dirty="0">
                <a:solidFill>
                  <a:schemeClr val="dk1"/>
                </a:solidFill>
              </a:endParaRPr>
            </a:p>
            <a:p>
              <a:pPr algn="ctr"/>
              <a:endParaRPr lang="en-GB" altLang="ko-KR" sz="2000" b="1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2107C96-3ED1-5ADE-2A0F-030A9392732F}"/>
              </a:ext>
            </a:extLst>
          </p:cNvPr>
          <p:cNvGrpSpPr/>
          <p:nvPr/>
        </p:nvGrpSpPr>
        <p:grpSpPr>
          <a:xfrm>
            <a:off x="6667508" y="4074953"/>
            <a:ext cx="2160000" cy="2304256"/>
            <a:chOff x="613118" y="3965848"/>
            <a:chExt cx="1779592" cy="2304256"/>
          </a:xfrm>
          <a:solidFill>
            <a:schemeClr val="accent4"/>
          </a:solidFill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DD71B40-902E-971D-129C-E70D9A9EAD4A}"/>
                </a:ext>
              </a:extLst>
            </p:cNvPr>
            <p:cNvSpPr/>
            <p:nvPr/>
          </p:nvSpPr>
          <p:spPr>
            <a:xfrm>
              <a:off x="613119" y="3965848"/>
              <a:ext cx="1779591" cy="9601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6" name="Rectangle 8">
              <a:extLst>
                <a:ext uri="{FF2B5EF4-FFF2-40B4-BE49-F238E27FC236}">
                  <a16:creationId xmlns:a16="http://schemas.microsoft.com/office/drawing/2014/main" id="{F3E03B2F-F40F-7B5E-6B6A-59C2E70E2C7E}"/>
                </a:ext>
              </a:extLst>
            </p:cNvPr>
            <p:cNvSpPr/>
            <p:nvPr/>
          </p:nvSpPr>
          <p:spPr>
            <a:xfrm>
              <a:off x="613118" y="4157869"/>
              <a:ext cx="1779592" cy="2112235"/>
            </a:xfrm>
            <a:custGeom>
              <a:avLst/>
              <a:gdLst/>
              <a:ahLst/>
              <a:cxnLst/>
              <a:rect l="l" t="t" r="r" b="b"/>
              <a:pathLst>
                <a:path w="1597476" h="1584176">
                  <a:moveTo>
                    <a:pt x="0" y="0"/>
                  </a:moveTo>
                  <a:lnTo>
                    <a:pt x="1597475" y="0"/>
                  </a:lnTo>
                  <a:lnTo>
                    <a:pt x="1597475" y="785438"/>
                  </a:lnTo>
                  <a:lnTo>
                    <a:pt x="1597476" y="785438"/>
                  </a:lnTo>
                  <a:lnTo>
                    <a:pt x="1597476" y="1413018"/>
                  </a:lnTo>
                  <a:lnTo>
                    <a:pt x="798738" y="1584176"/>
                  </a:lnTo>
                  <a:lnTo>
                    <a:pt x="0" y="1413018"/>
                  </a:lnTo>
                  <a:lnTo>
                    <a:pt x="0" y="936104"/>
                  </a:lnTo>
                  <a:lnTo>
                    <a:pt x="0" y="78543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altLang="ko-KR" sz="2000" b="1" dirty="0"/>
                <a:t>Transcrip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100" b="1" dirty="0"/>
                <a:t>Transcription is recorded.</a:t>
              </a:r>
            </a:p>
            <a:p>
              <a:endParaRPr lang="en-GB" altLang="ko-KR" sz="110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100" b="1" dirty="0"/>
                <a:t>Stored at central location for records. </a:t>
              </a:r>
            </a:p>
            <a:p>
              <a:endParaRPr lang="en-GB" altLang="ko-KR" b="1" dirty="0"/>
            </a:p>
            <a:p>
              <a:pPr algn="ctr"/>
              <a:endParaRPr lang="en-GB" altLang="ko-KR" b="1" dirty="0"/>
            </a:p>
            <a:p>
              <a:pPr algn="ctr"/>
              <a:endParaRPr lang="en-GB" altLang="ko-KR" b="1" dirty="0"/>
            </a:p>
            <a:p>
              <a:pPr algn="ctr"/>
              <a:endParaRPr lang="ko-KR" altLang="en-US" b="1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76D40DA-1C8F-5BB5-0E7A-081B8792ED74}"/>
              </a:ext>
            </a:extLst>
          </p:cNvPr>
          <p:cNvGrpSpPr/>
          <p:nvPr/>
        </p:nvGrpSpPr>
        <p:grpSpPr>
          <a:xfrm>
            <a:off x="9772268" y="4074953"/>
            <a:ext cx="2160000" cy="2304256"/>
            <a:chOff x="613118" y="3965848"/>
            <a:chExt cx="1779592" cy="2304256"/>
          </a:xfrm>
          <a:solidFill>
            <a:schemeClr val="accent4"/>
          </a:solidFill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5E015FA-4938-2D90-7B85-146ECBC7955D}"/>
                </a:ext>
              </a:extLst>
            </p:cNvPr>
            <p:cNvSpPr/>
            <p:nvPr/>
          </p:nvSpPr>
          <p:spPr>
            <a:xfrm>
              <a:off x="613119" y="3965848"/>
              <a:ext cx="1779591" cy="9601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9" name="Rectangle 8">
              <a:extLst>
                <a:ext uri="{FF2B5EF4-FFF2-40B4-BE49-F238E27FC236}">
                  <a16:creationId xmlns:a16="http://schemas.microsoft.com/office/drawing/2014/main" id="{2288A000-EFF2-E8CF-AF6D-287DB6DBD793}"/>
                </a:ext>
              </a:extLst>
            </p:cNvPr>
            <p:cNvSpPr/>
            <p:nvPr/>
          </p:nvSpPr>
          <p:spPr>
            <a:xfrm>
              <a:off x="613118" y="4157869"/>
              <a:ext cx="1779592" cy="2112235"/>
            </a:xfrm>
            <a:custGeom>
              <a:avLst/>
              <a:gdLst/>
              <a:ahLst/>
              <a:cxnLst/>
              <a:rect l="l" t="t" r="r" b="b"/>
              <a:pathLst>
                <a:path w="1597476" h="1584176">
                  <a:moveTo>
                    <a:pt x="0" y="0"/>
                  </a:moveTo>
                  <a:lnTo>
                    <a:pt x="1597475" y="0"/>
                  </a:lnTo>
                  <a:lnTo>
                    <a:pt x="1597475" y="785438"/>
                  </a:lnTo>
                  <a:lnTo>
                    <a:pt x="1597476" y="785438"/>
                  </a:lnTo>
                  <a:lnTo>
                    <a:pt x="1597476" y="1413018"/>
                  </a:lnTo>
                  <a:lnTo>
                    <a:pt x="798738" y="1584176"/>
                  </a:lnTo>
                  <a:lnTo>
                    <a:pt x="0" y="1413018"/>
                  </a:lnTo>
                  <a:lnTo>
                    <a:pt x="0" y="936104"/>
                  </a:lnTo>
                  <a:lnTo>
                    <a:pt x="0" y="785438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altLang="ko-KR" b="1" dirty="0"/>
                <a:t>Ac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altLang="ko-KR" sz="105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050" b="1" dirty="0"/>
                <a:t>Minutes-of-Meetings are sent over email.</a:t>
              </a:r>
            </a:p>
            <a:p>
              <a:endParaRPr lang="en-GB" altLang="ko-KR" sz="105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050" b="1" dirty="0"/>
                <a:t>Email would be sent across for the actions and tasks assigned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altLang="ko-KR" sz="1050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altLang="ko-KR" sz="1050" b="1" dirty="0"/>
                <a:t>Tasks are created in project planning tool e.g. JIRA.</a:t>
              </a:r>
              <a:endParaRPr lang="en-GB" altLang="ko-KR" b="1" dirty="0"/>
            </a:p>
            <a:p>
              <a:pPr algn="ctr"/>
              <a:endParaRPr lang="ko-KR" altLang="en-US" b="1" dirty="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D21166A-5FDF-28F2-B61D-2D22CDF888AD}"/>
              </a:ext>
            </a:extLst>
          </p:cNvPr>
          <p:cNvGrpSpPr/>
          <p:nvPr/>
        </p:nvGrpSpPr>
        <p:grpSpPr>
          <a:xfrm flipH="1">
            <a:off x="2370141" y="1902636"/>
            <a:ext cx="1166844" cy="1446377"/>
            <a:chOff x="3025302" y="2752841"/>
            <a:chExt cx="1225617" cy="2419117"/>
          </a:xfrm>
        </p:grpSpPr>
        <p:sp>
          <p:nvSpPr>
            <p:cNvPr id="51" name="Diamond 50">
              <a:extLst>
                <a:ext uri="{FF2B5EF4-FFF2-40B4-BE49-F238E27FC236}">
                  <a16:creationId xmlns:a16="http://schemas.microsoft.com/office/drawing/2014/main" id="{141B9F38-4CC8-2331-2DA0-9173DA635DEC}"/>
                </a:ext>
              </a:extLst>
            </p:cNvPr>
            <p:cNvSpPr/>
            <p:nvPr/>
          </p:nvSpPr>
          <p:spPr>
            <a:xfrm>
              <a:off x="3025302" y="2752841"/>
              <a:ext cx="817123" cy="2419117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E1242AAD-8FB3-54F1-4B3E-A161DC20D2D9}"/>
                </a:ext>
              </a:extLst>
            </p:cNvPr>
            <p:cNvSpPr/>
            <p:nvPr/>
          </p:nvSpPr>
          <p:spPr>
            <a:xfrm rot="10800000">
              <a:off x="3433795" y="2756038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id="{AC1D92FD-78F2-8F88-3598-5B1A23523BF8}"/>
                </a:ext>
              </a:extLst>
            </p:cNvPr>
            <p:cNvSpPr/>
            <p:nvPr/>
          </p:nvSpPr>
          <p:spPr>
            <a:xfrm>
              <a:off x="3425249" y="3962399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D1C138D-8948-8789-421E-9F9493453321}"/>
              </a:ext>
            </a:extLst>
          </p:cNvPr>
          <p:cNvGrpSpPr/>
          <p:nvPr/>
        </p:nvGrpSpPr>
        <p:grpSpPr>
          <a:xfrm flipH="1">
            <a:off x="5591606" y="1904957"/>
            <a:ext cx="1166844" cy="1446377"/>
            <a:chOff x="3025302" y="2752841"/>
            <a:chExt cx="1225617" cy="2419117"/>
          </a:xfrm>
        </p:grpSpPr>
        <p:sp>
          <p:nvSpPr>
            <p:cNvPr id="55" name="Diamond 54">
              <a:extLst>
                <a:ext uri="{FF2B5EF4-FFF2-40B4-BE49-F238E27FC236}">
                  <a16:creationId xmlns:a16="http://schemas.microsoft.com/office/drawing/2014/main" id="{EDD1B2F4-F1B4-0389-DF67-8CB155024EEC}"/>
                </a:ext>
              </a:extLst>
            </p:cNvPr>
            <p:cNvSpPr/>
            <p:nvPr/>
          </p:nvSpPr>
          <p:spPr>
            <a:xfrm>
              <a:off x="3025302" y="2752841"/>
              <a:ext cx="817123" cy="2419117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B5663C07-6F2A-0591-808D-213E98CEB457}"/>
                </a:ext>
              </a:extLst>
            </p:cNvPr>
            <p:cNvSpPr/>
            <p:nvPr/>
          </p:nvSpPr>
          <p:spPr>
            <a:xfrm rot="10800000">
              <a:off x="3433795" y="2756038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173E27E5-DEB4-C4D0-E6EA-844437698BC1}"/>
                </a:ext>
              </a:extLst>
            </p:cNvPr>
            <p:cNvSpPr/>
            <p:nvPr/>
          </p:nvSpPr>
          <p:spPr>
            <a:xfrm>
              <a:off x="3425249" y="3962399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8C038D1-FF89-F8E9-EC53-999E9DFB9B17}"/>
              </a:ext>
            </a:extLst>
          </p:cNvPr>
          <p:cNvGrpSpPr/>
          <p:nvPr/>
        </p:nvGrpSpPr>
        <p:grpSpPr>
          <a:xfrm flipH="1">
            <a:off x="8821207" y="1902636"/>
            <a:ext cx="1166844" cy="1446377"/>
            <a:chOff x="3025302" y="2752841"/>
            <a:chExt cx="1225617" cy="2419117"/>
          </a:xfrm>
        </p:grpSpPr>
        <p:sp>
          <p:nvSpPr>
            <p:cNvPr id="59" name="Diamond 58">
              <a:extLst>
                <a:ext uri="{FF2B5EF4-FFF2-40B4-BE49-F238E27FC236}">
                  <a16:creationId xmlns:a16="http://schemas.microsoft.com/office/drawing/2014/main" id="{514757CD-E959-9861-7D19-853850F571F9}"/>
                </a:ext>
              </a:extLst>
            </p:cNvPr>
            <p:cNvSpPr/>
            <p:nvPr/>
          </p:nvSpPr>
          <p:spPr>
            <a:xfrm>
              <a:off x="3025302" y="2752841"/>
              <a:ext cx="817123" cy="2419117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3D94D937-7D04-A7FC-C549-642883A85FE1}"/>
                </a:ext>
              </a:extLst>
            </p:cNvPr>
            <p:cNvSpPr/>
            <p:nvPr/>
          </p:nvSpPr>
          <p:spPr>
            <a:xfrm rot="10800000">
              <a:off x="3433795" y="2756038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C34D4AE8-687D-7473-0C8B-9FCA6E3C04CB}"/>
                </a:ext>
              </a:extLst>
            </p:cNvPr>
            <p:cNvSpPr/>
            <p:nvPr/>
          </p:nvSpPr>
          <p:spPr>
            <a:xfrm>
              <a:off x="3425249" y="3962399"/>
              <a:ext cx="817124" cy="1209559"/>
            </a:xfrm>
            <a:prstGeom prst="triangle">
              <a:avLst>
                <a:gd name="adj" fmla="val 50332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79777CFC-D298-621F-2561-67B3C904AF06}"/>
              </a:ext>
            </a:extLst>
          </p:cNvPr>
          <p:cNvSpPr txBox="1"/>
          <p:nvPr/>
        </p:nvSpPr>
        <p:spPr>
          <a:xfrm>
            <a:off x="133349" y="157621"/>
            <a:ext cx="353698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ko-KR" sz="3200" dirty="0">
                <a:latin typeface="+mj-lt"/>
                <a:ea typeface="+mj-ea"/>
                <a:cs typeface="+mj-cs"/>
              </a:rPr>
              <a:t>Proposed Solution</a:t>
            </a:r>
            <a:endParaRPr lang="ko-KR" altLang="en-US" sz="3200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1880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BC1DC1A-BD5B-440A-8A6C-AD864686747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/>
          <a:srcRect t="3657" b="3657"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F96C6F-6F7B-46DD-9E22-7AD0B5DD8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115654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6494C-DE84-48E5-B0E6-3CBF2B1FF8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Future Scop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5709865-13BF-4CFE-9DE6-22C9BA5B5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5956F05-4BA8-4F8E-8694-5BEC3C7A18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Known Issues/Challeng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3C9563D-0632-45AF-BBF1-72BA7071CC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7" y="1471005"/>
            <a:ext cx="5868000" cy="4516019"/>
          </a:xfrm>
        </p:spPr>
        <p:txBody>
          <a:bodyPr/>
          <a:lstStyle/>
          <a:p>
            <a:r>
              <a:rPr lang="en-US" dirty="0"/>
              <a:t>Input</a:t>
            </a:r>
          </a:p>
          <a:p>
            <a:r>
              <a:rPr lang="en-US" b="0" dirty="0"/>
              <a:t>Real-time audio recording/raw data collection during meeting is a challenge due to authentication/permission issue (recording voice of a user from a different system is a privacy violation).</a:t>
            </a:r>
          </a:p>
          <a:p>
            <a:r>
              <a:rPr lang="en-US" dirty="0"/>
              <a:t>Raw Data Processing</a:t>
            </a:r>
          </a:p>
          <a:p>
            <a:r>
              <a:rPr lang="en-US" b="0" dirty="0"/>
              <a:t>AI/ML models can be trained and improved for better accuracy of MoM.</a:t>
            </a:r>
          </a:p>
          <a:p>
            <a:r>
              <a:rPr lang="en-US" dirty="0"/>
              <a:t>Scalability</a:t>
            </a:r>
          </a:p>
          <a:p>
            <a:r>
              <a:rPr lang="en-US" b="0" dirty="0"/>
              <a:t>The proposed solution need to be scaled to integrate with third-party communication apps like Skype, Zoom, Teams, Webex, </a:t>
            </a:r>
            <a:r>
              <a:rPr lang="en-US" b="0" dirty="0" err="1"/>
              <a:t>Rocket.Chat</a:t>
            </a:r>
            <a:r>
              <a:rPr lang="en-US" b="0" dirty="0"/>
              <a:t>, etc.</a:t>
            </a:r>
          </a:p>
          <a:p>
            <a:r>
              <a:rPr lang="en-US" dirty="0"/>
              <a:t>Output</a:t>
            </a:r>
          </a:p>
          <a:p>
            <a:r>
              <a:rPr lang="en-US" b="0" dirty="0"/>
              <a:t>MoM to be sent to meeting participants via email.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DC1C1E38-1021-4402-9465-63155981490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1925" r="1925"/>
          <a:stretch/>
        </p:blipFill>
        <p:spPr/>
      </p:pic>
    </p:spTree>
    <p:extLst>
      <p:ext uri="{BB962C8B-B14F-4D97-AF65-F5344CB8AC3E}">
        <p14:creationId xmlns:p14="http://schemas.microsoft.com/office/powerpoint/2010/main" val="1611232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99FB89EB-94B1-4915-8D98-9584D05396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361" r="30361"/>
          <a:stretch/>
        </p:blipFill>
        <p:spPr>
          <a:xfrm>
            <a:off x="2419758" y="3276064"/>
            <a:ext cx="1619181" cy="274722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4D37162-9615-4FA3-AA42-F5834FFB7C1E}"/>
              </a:ext>
            </a:extLst>
          </p:cNvPr>
          <p:cNvGrpSpPr/>
          <p:nvPr/>
        </p:nvGrpSpPr>
        <p:grpSpPr>
          <a:xfrm>
            <a:off x="235748" y="4882799"/>
            <a:ext cx="2367395" cy="1145170"/>
            <a:chOff x="235748" y="4882799"/>
            <a:chExt cx="2367395" cy="1145170"/>
          </a:xfrm>
          <a:solidFill>
            <a:srgbClr val="EBAF34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D74555-6010-46A2-8352-51BB98950110}"/>
                </a:ext>
              </a:extLst>
            </p:cNvPr>
            <p:cNvSpPr/>
            <p:nvPr/>
          </p:nvSpPr>
          <p:spPr bwMode="gray">
            <a:xfrm>
              <a:off x="235748" y="4882799"/>
              <a:ext cx="2188525" cy="114517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2A358AD-248F-43EC-BEF0-768732444C00}"/>
                </a:ext>
              </a:extLst>
            </p:cNvPr>
            <p:cNvSpPr/>
            <p:nvPr/>
          </p:nvSpPr>
          <p:spPr bwMode="gray">
            <a:xfrm rot="13500000">
              <a:off x="2243649" y="5318579"/>
              <a:ext cx="360000" cy="35898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480A617-8000-4DCB-95EA-E772B9EAB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A964D4-A7AE-424F-8AB1-490B42C699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3D27312-FECA-4AC0-BD78-6100F9B823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have we learnt?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A6A833A6-FCFF-419C-8ADE-3EC5641065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60" b="14682"/>
          <a:stretch/>
        </p:blipFill>
        <p:spPr>
          <a:xfrm>
            <a:off x="8157757" y="4882800"/>
            <a:ext cx="1605905" cy="114048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4017F9E3-06D0-4A21-8AB0-2802B45EFD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959" b="13959"/>
          <a:stretch/>
        </p:blipFill>
        <p:spPr>
          <a:xfrm>
            <a:off x="4015889" y="1677856"/>
            <a:ext cx="4168624" cy="160099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8D9D77D-C6A1-4EB3-8617-0AEC3733F180}"/>
              </a:ext>
            </a:extLst>
          </p:cNvPr>
          <p:cNvSpPr/>
          <p:nvPr/>
        </p:nvSpPr>
        <p:spPr bwMode="gray">
          <a:xfrm>
            <a:off x="8162083" y="1677855"/>
            <a:ext cx="3802029" cy="1593524"/>
          </a:xfrm>
          <a:prstGeom prst="rect">
            <a:avLst/>
          </a:prstGeom>
          <a:solidFill>
            <a:srgbClr val="B7996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41" tIns="35941" rIns="35941" bIns="35941" rtlCol="0" anchor="t" anchorCtr="0"/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5261B14-6A61-43BF-8DD2-3C790CE89CE8}"/>
              </a:ext>
            </a:extLst>
          </p:cNvPr>
          <p:cNvGrpSpPr/>
          <p:nvPr/>
        </p:nvGrpSpPr>
        <p:grpSpPr>
          <a:xfrm>
            <a:off x="235748" y="1675960"/>
            <a:ext cx="3780141" cy="1773525"/>
            <a:chOff x="231859" y="1675960"/>
            <a:chExt cx="3780141" cy="1773525"/>
          </a:xfrm>
          <a:solidFill>
            <a:srgbClr val="B27500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787C296-75BD-4E23-84D1-B3A03E41A2C7}"/>
                </a:ext>
              </a:extLst>
            </p:cNvPr>
            <p:cNvSpPr/>
            <p:nvPr/>
          </p:nvSpPr>
          <p:spPr bwMode="gray">
            <a:xfrm>
              <a:off x="231860" y="1675960"/>
              <a:ext cx="3780140" cy="1599006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34" descr="&lt;tags&gt;&lt;tag n=&quot;BulletInfo&quot; v=&quot;Standard&quot; /&gt;&lt;/tags&gt;">
              <a:extLst>
                <a:ext uri="{FF2B5EF4-FFF2-40B4-BE49-F238E27FC236}">
                  <a16:creationId xmlns:a16="http://schemas.microsoft.com/office/drawing/2014/main" id="{626CD801-A0EE-4C97-AC41-77E7FA4F3D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859" y="1675960"/>
              <a:ext cx="3779519" cy="1247478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180000" tIns="180000" rIns="180000" bIns="180000" anchor="t" anchorCtr="0">
              <a:noAutofit/>
            </a:bodyPr>
            <a:lstStyle>
              <a:lvl1pPr marL="342900" indent="-3429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1pPr>
              <a:lvl2pPr marL="742950" indent="-28575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2pPr>
              <a:lvl3pPr marL="141288" indent="-138113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3pPr>
              <a:lvl4pPr marL="16002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4pPr>
              <a:lvl5pPr marL="20574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5pPr>
              <a:lvl6pPr marL="25146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6pPr>
              <a:lvl7pPr marL="29718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7pPr>
              <a:lvl8pPr marL="34290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8pPr>
              <a:lvl9pPr marL="38862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9pPr>
            </a:lstStyle>
            <a:p>
              <a:pPr marL="0" lvl="2" indent="0" algn="l">
                <a:spcBef>
                  <a:spcPct val="5000"/>
                </a:spcBef>
                <a:buClrTx/>
                <a:buSzPct val="100000"/>
              </a:pPr>
              <a:r>
                <a:rPr lang="en-US" altLang="en-US" b="1" dirty="0">
                  <a:solidFill>
                    <a:schemeClr val="bg1"/>
                  </a:solidFill>
                  <a:latin typeface="+mn-lt"/>
                </a:rPr>
                <a:t>1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Team collaboratio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36F603E-F60B-406E-873F-A55690E8FD90}"/>
                </a:ext>
              </a:extLst>
            </p:cNvPr>
            <p:cNvSpPr/>
            <p:nvPr/>
          </p:nvSpPr>
          <p:spPr bwMode="gray">
            <a:xfrm rot="13500000">
              <a:off x="3364154" y="3089990"/>
              <a:ext cx="360000" cy="35898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Rectangle 34" descr="&lt;tags&gt;&lt;tag n=&quot;BulletInfo&quot; v=&quot;Standard&quot; /&gt;&lt;/tags&gt;">
            <a:extLst>
              <a:ext uri="{FF2B5EF4-FFF2-40B4-BE49-F238E27FC236}">
                <a16:creationId xmlns:a16="http://schemas.microsoft.com/office/drawing/2014/main" id="{CB76B177-18A4-4D22-93E9-3979B8B502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5748" y="4882800"/>
            <a:ext cx="2187901" cy="88835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80000" tIns="180000" rIns="180000" bIns="180000" anchor="t" anchorCtr="0">
            <a:noAutofit/>
          </a:bodyPr>
          <a:lstStyle>
            <a:lvl1pPr marL="342900" indent="-3429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2pPr>
            <a:lvl3pPr marL="141288" indent="-138113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9pPr>
          </a:lstStyle>
          <a:p>
            <a:pPr marL="0" lvl="2" indent="0" algn="l">
              <a:spcBef>
                <a:spcPct val="5000"/>
              </a:spcBef>
              <a:buClrTx/>
              <a:buSzPct val="100000"/>
            </a:pPr>
            <a:r>
              <a:rPr lang="en-US" altLang="en-US" b="1" dirty="0">
                <a:solidFill>
                  <a:schemeClr val="bg1"/>
                </a:solidFill>
                <a:latin typeface="+mn-lt"/>
              </a:rPr>
              <a:t>3</a:t>
            </a:r>
          </a:p>
          <a:p>
            <a:pPr marL="0" lvl="2" indent="0" defTabSz="91440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400" dirty="0">
                <a:solidFill>
                  <a:schemeClr val="bg1"/>
                </a:solidFill>
                <a:latin typeface="+mn-lt"/>
              </a:rPr>
              <a:t>To not give up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0C9DD17-2545-4DC4-96E7-17A32542AC5E}"/>
              </a:ext>
            </a:extLst>
          </p:cNvPr>
          <p:cNvGrpSpPr/>
          <p:nvPr/>
        </p:nvGrpSpPr>
        <p:grpSpPr>
          <a:xfrm>
            <a:off x="235748" y="3271379"/>
            <a:ext cx="2188525" cy="1792492"/>
            <a:chOff x="227347" y="3269483"/>
            <a:chExt cx="2188525" cy="1792492"/>
          </a:xfrm>
          <a:solidFill>
            <a:srgbClr val="C28C00"/>
          </a:solidFill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FE58F96-09E6-4BD6-8834-4D0AFB65B974}"/>
                </a:ext>
              </a:extLst>
            </p:cNvPr>
            <p:cNvSpPr/>
            <p:nvPr/>
          </p:nvSpPr>
          <p:spPr bwMode="gray">
            <a:xfrm>
              <a:off x="227347" y="3269483"/>
              <a:ext cx="2188525" cy="1612151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34" descr="&lt;tags&gt;&lt;tag n=&quot;BulletInfo&quot; v=&quot;Standard&quot; /&gt;&lt;/tags&gt;">
              <a:extLst>
                <a:ext uri="{FF2B5EF4-FFF2-40B4-BE49-F238E27FC236}">
                  <a16:creationId xmlns:a16="http://schemas.microsoft.com/office/drawing/2014/main" id="{164FAC81-800A-468A-8D52-62D4DAAEFD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347" y="3269483"/>
              <a:ext cx="2160959" cy="159900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180000" tIns="180000" rIns="180000" bIns="180000" anchor="t" anchorCtr="0">
              <a:noAutofit/>
            </a:bodyPr>
            <a:lstStyle>
              <a:lvl1pPr marL="342900" indent="-3429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1pPr>
              <a:lvl2pPr marL="742950" indent="-28575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2pPr>
              <a:lvl3pPr marL="141288" indent="-138113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3pPr>
              <a:lvl4pPr marL="16002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4pPr>
              <a:lvl5pPr marL="20574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5pPr>
              <a:lvl6pPr marL="25146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6pPr>
              <a:lvl7pPr marL="29718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7pPr>
              <a:lvl8pPr marL="34290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8pPr>
              <a:lvl9pPr marL="38862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9pPr>
            </a:lstStyle>
            <a:p>
              <a:pPr marL="0" lvl="2" indent="0" algn="l">
                <a:spcBef>
                  <a:spcPct val="5000"/>
                </a:spcBef>
                <a:buClrTx/>
                <a:buSzPct val="100000"/>
              </a:pPr>
              <a:r>
                <a:rPr lang="en-US" altLang="en-US" b="1" dirty="0">
                  <a:solidFill>
                    <a:schemeClr val="bg1"/>
                  </a:solidFill>
                  <a:latin typeface="+mn-lt"/>
                </a:rPr>
                <a:t>2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Delivering under pressur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E963B35-8314-4212-B637-112CB0F58D31}"/>
                </a:ext>
              </a:extLst>
            </p:cNvPr>
            <p:cNvSpPr/>
            <p:nvPr/>
          </p:nvSpPr>
          <p:spPr bwMode="gray">
            <a:xfrm rot="13500000">
              <a:off x="1683076" y="4702480"/>
              <a:ext cx="360000" cy="35898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0EC6585-3DC6-47C7-887B-7D102726A69B}"/>
              </a:ext>
            </a:extLst>
          </p:cNvPr>
          <p:cNvGrpSpPr/>
          <p:nvPr/>
        </p:nvGrpSpPr>
        <p:grpSpPr>
          <a:xfrm>
            <a:off x="4021211" y="4870384"/>
            <a:ext cx="4319044" cy="1152900"/>
            <a:chOff x="4016700" y="4868488"/>
            <a:chExt cx="4319044" cy="1152900"/>
          </a:xfrm>
          <a:solidFill>
            <a:srgbClr val="EDE1CF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9737DBD-6178-4AF4-B7DC-26DEAC9310A3}"/>
                </a:ext>
              </a:extLst>
            </p:cNvPr>
            <p:cNvSpPr/>
            <p:nvPr/>
          </p:nvSpPr>
          <p:spPr bwMode="gray">
            <a:xfrm>
              <a:off x="4016700" y="4868488"/>
              <a:ext cx="4138368" cy="1152900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34" descr="&lt;tags&gt;&lt;tag n=&quot;BulletInfo&quot; v=&quot;Standard&quot; /&gt;&lt;/tags&gt;">
              <a:extLst>
                <a:ext uri="{FF2B5EF4-FFF2-40B4-BE49-F238E27FC236}">
                  <a16:creationId xmlns:a16="http://schemas.microsoft.com/office/drawing/2014/main" id="{699C5BC0-0AAC-4AB2-85EE-D4437573DC2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16701" y="4868488"/>
              <a:ext cx="4143689" cy="1151005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180000" tIns="180000" rIns="180000" bIns="180000" anchor="t" anchorCtr="0">
              <a:noAutofit/>
            </a:bodyPr>
            <a:lstStyle>
              <a:lvl1pPr marL="342900" indent="-3429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1pPr>
              <a:lvl2pPr marL="742950" indent="-28575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2pPr>
              <a:lvl3pPr marL="141288" indent="-138113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3pPr>
              <a:lvl4pPr marL="16002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4pPr>
              <a:lvl5pPr marL="20574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5pPr>
              <a:lvl6pPr marL="25146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6pPr>
              <a:lvl7pPr marL="29718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7pPr>
              <a:lvl8pPr marL="34290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8pPr>
              <a:lvl9pPr marL="38862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9pPr>
            </a:lstStyle>
            <a:p>
              <a:pPr marL="0" lvl="2" indent="0" algn="l">
                <a:spcBef>
                  <a:spcPct val="5000"/>
                </a:spcBef>
                <a:buClrTx/>
                <a:buSzPct val="100000"/>
              </a:pPr>
              <a:r>
                <a:rPr lang="en-US" altLang="en-US" b="1" dirty="0">
                  <a:latin typeface="+mn-lt"/>
                </a:rPr>
                <a:t>5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400" dirty="0">
                  <a:latin typeface="+mn-lt"/>
                </a:rPr>
                <a:t>Leveraging diverse skill-set available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endParaRPr lang="en-US" sz="1400" dirty="0">
                <a:latin typeface="+mn-lt"/>
              </a:endParaRP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endParaRPr lang="en-US" sz="1400" dirty="0">
                <a:latin typeface="+mn-lt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2AB66E4-A1F1-410A-A422-4F6C3E21E57B}"/>
                </a:ext>
              </a:extLst>
            </p:cNvPr>
            <p:cNvSpPr/>
            <p:nvPr/>
          </p:nvSpPr>
          <p:spPr bwMode="gray">
            <a:xfrm rot="13500000">
              <a:off x="7976250" y="5387756"/>
              <a:ext cx="360000" cy="35898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0969A89-3CC9-48B9-A460-A9AABB06649E}"/>
              </a:ext>
            </a:extLst>
          </p:cNvPr>
          <p:cNvGrpSpPr/>
          <p:nvPr/>
        </p:nvGrpSpPr>
        <p:grpSpPr>
          <a:xfrm>
            <a:off x="8162083" y="3084590"/>
            <a:ext cx="3807416" cy="1798940"/>
            <a:chOff x="8157572" y="3082694"/>
            <a:chExt cx="3807416" cy="1798940"/>
          </a:xfrm>
          <a:solidFill>
            <a:srgbClr val="D0B481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30D9E5E-8DE5-4F1D-BB74-249C6037CA56}"/>
                </a:ext>
              </a:extLst>
            </p:cNvPr>
            <p:cNvSpPr/>
            <p:nvPr/>
          </p:nvSpPr>
          <p:spPr bwMode="gray">
            <a:xfrm>
              <a:off x="8157572" y="3269481"/>
              <a:ext cx="3805776" cy="161215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B49EF20-4B60-40A0-A651-C359F930E3D7}"/>
                </a:ext>
              </a:extLst>
            </p:cNvPr>
            <p:cNvSpPr/>
            <p:nvPr/>
          </p:nvSpPr>
          <p:spPr bwMode="gray">
            <a:xfrm rot="13500000">
              <a:off x="11281319" y="3083199"/>
              <a:ext cx="360000" cy="35898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34" descr="&lt;tags&gt;&lt;tag n=&quot;BulletInfo&quot; v=&quot;Standard&quot; /&gt;&lt;/tags&gt;">
              <a:extLst>
                <a:ext uri="{FF2B5EF4-FFF2-40B4-BE49-F238E27FC236}">
                  <a16:creationId xmlns:a16="http://schemas.microsoft.com/office/drawing/2014/main" id="{1BBC6DE6-DEC6-4DAE-9EEE-5B368D1350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57572" y="3269481"/>
              <a:ext cx="3807416" cy="1400241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180000" tIns="180000" rIns="180000" bIns="180000" anchor="t" anchorCtr="0">
              <a:noAutofit/>
            </a:bodyPr>
            <a:lstStyle>
              <a:lvl1pPr marL="342900" indent="-3429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1pPr>
              <a:lvl2pPr marL="742950" indent="-28575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2pPr>
              <a:lvl3pPr marL="141288" indent="-138113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3pPr>
              <a:lvl4pPr marL="16002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4pPr>
              <a:lvl5pPr marL="20574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5pPr>
              <a:lvl6pPr marL="25146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6pPr>
              <a:lvl7pPr marL="29718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7pPr>
              <a:lvl8pPr marL="34290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8pPr>
              <a:lvl9pPr marL="38862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9pPr>
            </a:lstStyle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b="1" dirty="0">
                  <a:solidFill>
                    <a:schemeClr val="bg1"/>
                  </a:solidFill>
                  <a:latin typeface="+mn-lt"/>
                </a:rPr>
                <a:t>7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Being accountable for one’s deliverable</a:t>
              </a:r>
            </a:p>
          </p:txBody>
        </p:sp>
      </p:grpSp>
      <p:sp>
        <p:nvSpPr>
          <p:cNvPr id="53" name="Rectangle 34" descr="&lt;tags&gt;&lt;tag n=&quot;BulletInfo&quot; v=&quot;Standard&quot; /&gt;&lt;/tags&gt;">
            <a:extLst>
              <a:ext uri="{FF2B5EF4-FFF2-40B4-BE49-F238E27FC236}">
                <a16:creationId xmlns:a16="http://schemas.microsoft.com/office/drawing/2014/main" id="{989186F9-5C94-478B-AFE3-3E01294EBB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65523" y="1675960"/>
            <a:ext cx="3788499" cy="160289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80000" tIns="180000" rIns="180000" bIns="180000" anchor="t" anchorCtr="0">
            <a:noAutofit/>
          </a:bodyPr>
          <a:lstStyle>
            <a:lvl1pPr marL="342900" indent="-3429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2pPr>
            <a:lvl3pPr marL="141288" indent="-138113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Credit Suisse Type Roman" pitchFamily="34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redit Suisse Type Roman" pitchFamily="34" charset="0"/>
              </a:defRPr>
            </a:lvl9pPr>
          </a:lstStyle>
          <a:p>
            <a:pPr marL="0" lvl="2" indent="0" defTabSz="91440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b="1" dirty="0">
                <a:solidFill>
                  <a:schemeClr val="bg1"/>
                </a:solidFill>
                <a:latin typeface="+mn-lt"/>
              </a:rPr>
              <a:t>8</a:t>
            </a:r>
          </a:p>
          <a:p>
            <a:pPr marL="0" lvl="2" indent="0" defTabSz="91440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400" dirty="0">
                <a:solidFill>
                  <a:schemeClr val="bg1"/>
                </a:solidFill>
                <a:latin typeface="+mn-lt"/>
              </a:rPr>
              <a:t>To be open to diverse idea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B2FAA6-2136-47D3-85B6-A9DA7A80DB42}"/>
              </a:ext>
            </a:extLst>
          </p:cNvPr>
          <p:cNvGrpSpPr/>
          <p:nvPr/>
        </p:nvGrpSpPr>
        <p:grpSpPr>
          <a:xfrm>
            <a:off x="9763661" y="4702799"/>
            <a:ext cx="2205837" cy="1320485"/>
            <a:chOff x="9759150" y="4700903"/>
            <a:chExt cx="2205837" cy="1320485"/>
          </a:xfrm>
          <a:solidFill>
            <a:srgbClr val="E5D2AF"/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F2A6C18-5826-4D69-BDE7-9BA68C5CE06B}"/>
                </a:ext>
              </a:extLst>
            </p:cNvPr>
            <p:cNvSpPr/>
            <p:nvPr/>
          </p:nvSpPr>
          <p:spPr bwMode="gray">
            <a:xfrm>
              <a:off x="9759150" y="4880904"/>
              <a:ext cx="2205837" cy="1140484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C2538A4-4003-4412-899F-783ECB86F3BE}"/>
                </a:ext>
              </a:extLst>
            </p:cNvPr>
            <p:cNvGrpSpPr/>
            <p:nvPr/>
          </p:nvGrpSpPr>
          <p:grpSpPr>
            <a:xfrm>
              <a:off x="9759151" y="4700903"/>
              <a:ext cx="2199177" cy="1318005"/>
              <a:chOff x="9759151" y="4700903"/>
              <a:chExt cx="2199177" cy="1318005"/>
            </a:xfrm>
            <a:grpFill/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14849D3-74D2-4F4D-8811-B5CA412844E9}"/>
                  </a:ext>
                </a:extLst>
              </p:cNvPr>
              <p:cNvSpPr/>
              <p:nvPr/>
            </p:nvSpPr>
            <p:spPr bwMode="gray">
              <a:xfrm rot="13500000">
                <a:off x="11261588" y="4701408"/>
                <a:ext cx="360000" cy="35898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35941" tIns="35941" rIns="35941" bIns="35941" numCol="1" anchor="t" anchorCtr="0" compatLnSpc="1">
                <a:prstTxWarp prst="textNoShape">
                  <a:avLst/>
                </a:prstTxWarp>
              </a:bodyPr>
              <a:lstStyle/>
              <a:p>
                <a:pPr algn="l"/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Rectangle 34" descr="&lt;tags&gt;&lt;tag n=&quot;BulletInfo&quot; v=&quot;Standard&quot; /&gt;&lt;/tags&gt;">
                <a:extLst>
                  <a:ext uri="{FF2B5EF4-FFF2-40B4-BE49-F238E27FC236}">
                    <a16:creationId xmlns:a16="http://schemas.microsoft.com/office/drawing/2014/main" id="{699A6641-3233-4E39-87F0-643A197EB37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759151" y="4880905"/>
                <a:ext cx="2199177" cy="1138003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wrap="square" lIns="180000" tIns="180000" rIns="180000" bIns="180000" anchor="t" anchorCtr="0">
                <a:noAutofit/>
              </a:bodyPr>
              <a:lstStyle>
                <a:lvl1pPr marL="342900" indent="-342900" defTabSz="728663"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1pPr>
                <a:lvl2pPr marL="742950" indent="-285750" defTabSz="728663"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2pPr>
                <a:lvl3pPr marL="141288" indent="-138113" defTabSz="728663"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3pPr>
                <a:lvl4pPr marL="1600200" indent="-228600" defTabSz="728663"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4pPr>
                <a:lvl5pPr marL="2057400" indent="-228600" defTabSz="728663"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5pPr>
                <a:lvl6pPr marL="2514600" indent="-228600" defTabSz="72866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6pPr>
                <a:lvl7pPr marL="2971800" indent="-228600" defTabSz="72866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7pPr>
                <a:lvl8pPr marL="3429000" indent="-228600" defTabSz="72866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8pPr>
                <a:lvl9pPr marL="3886200" indent="-228600" defTabSz="72866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redit Suisse Type Roman" pitchFamily="34" charset="0"/>
                  </a:defRPr>
                </a:lvl9pPr>
              </a:lstStyle>
              <a:p>
                <a:pPr marL="0" lvl="2" indent="0" algn="l">
                  <a:spcBef>
                    <a:spcPct val="5000"/>
                  </a:spcBef>
                  <a:buClrTx/>
                  <a:buSzPct val="100000"/>
                </a:pPr>
                <a:r>
                  <a:rPr lang="en-US" altLang="en-US" b="1" dirty="0">
                    <a:latin typeface="+mn-lt"/>
                  </a:rPr>
                  <a:t>6</a:t>
                </a:r>
              </a:p>
              <a:p>
                <a:pPr marL="0" lvl="2" indent="0" defTabSz="91440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</a:pPr>
                <a:r>
                  <a:rPr lang="en-US" sz="1400" dirty="0">
                    <a:latin typeface="+mn-lt"/>
                  </a:rPr>
                  <a:t>Be positive</a:t>
                </a: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  <a:p>
                <a:pPr marL="0" lvl="2" indent="0" defTabSz="91440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SzPct val="100000"/>
                </a:pPr>
                <a:endParaRPr lang="en-US" sz="14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FD491B-C50F-4D7F-9AE1-824099E74376}"/>
              </a:ext>
            </a:extLst>
          </p:cNvPr>
          <p:cNvGrpSpPr/>
          <p:nvPr/>
        </p:nvGrpSpPr>
        <p:grpSpPr>
          <a:xfrm>
            <a:off x="4021211" y="3271379"/>
            <a:ext cx="4143691" cy="1792493"/>
            <a:chOff x="4016700" y="3269483"/>
            <a:chExt cx="4143691" cy="1792493"/>
          </a:xfrm>
          <a:solidFill>
            <a:schemeClr val="accent4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A24621A-EEDA-4007-80CF-9DC9E09BA3BB}"/>
                </a:ext>
              </a:extLst>
            </p:cNvPr>
            <p:cNvSpPr/>
            <p:nvPr/>
          </p:nvSpPr>
          <p:spPr bwMode="gray">
            <a:xfrm>
              <a:off x="4016701" y="3269483"/>
              <a:ext cx="4143690" cy="1612151"/>
            </a:xfrm>
            <a:prstGeom prst="rect">
              <a:avLst/>
            </a:prstGeom>
            <a:solidFill>
              <a:srgbClr val="F0C35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41" tIns="35941" rIns="35941" bIns="35941" rtlCol="0" anchor="t" anchorCtr="0"/>
            <a:lstStyle/>
            <a:p>
              <a:pPr algn="l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FB2451E-0A03-4409-A6BD-9B241D57CB7F}"/>
                </a:ext>
              </a:extLst>
            </p:cNvPr>
            <p:cNvSpPr/>
            <p:nvPr/>
          </p:nvSpPr>
          <p:spPr bwMode="gray">
            <a:xfrm rot="13500000">
              <a:off x="7247624" y="4702481"/>
              <a:ext cx="360000" cy="358989"/>
            </a:xfrm>
            <a:prstGeom prst="rect">
              <a:avLst/>
            </a:prstGeom>
            <a:solidFill>
              <a:srgbClr val="F0C352"/>
            </a:solidFill>
            <a:ln>
              <a:noFill/>
            </a:ln>
          </p:spPr>
          <p:txBody>
            <a:bodyPr vert="horz" wrap="square" lIns="35941" tIns="35941" rIns="35941" bIns="35941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34" descr="&lt;tags&gt;&lt;tag n=&quot;BulletInfo&quot; v=&quot;Standard&quot; /&gt;&lt;/tags&gt;">
              <a:extLst>
                <a:ext uri="{FF2B5EF4-FFF2-40B4-BE49-F238E27FC236}">
                  <a16:creationId xmlns:a16="http://schemas.microsoft.com/office/drawing/2014/main" id="{EF5B4CF0-4FF8-4A81-950D-E57A6078F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16700" y="3269483"/>
              <a:ext cx="4143689" cy="13657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80000" tIns="180000" rIns="180000" bIns="180000" anchor="t" anchorCtr="0">
              <a:noAutofit/>
            </a:bodyPr>
            <a:lstStyle>
              <a:lvl1pPr marL="342900" indent="-3429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1pPr>
              <a:lvl2pPr marL="742950" indent="-28575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2pPr>
              <a:lvl3pPr marL="141288" indent="-138113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3pPr>
              <a:lvl4pPr marL="16002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4pPr>
              <a:lvl5pPr marL="2057400" indent="-228600" defTabSz="728663"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5pPr>
              <a:lvl6pPr marL="25146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6pPr>
              <a:lvl7pPr marL="29718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7pPr>
              <a:lvl8pPr marL="34290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8pPr>
              <a:lvl9pPr marL="3886200" indent="-228600" defTabSz="7286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redit Suisse Type Roman" pitchFamily="34" charset="0"/>
                </a:defRPr>
              </a:lvl9pPr>
            </a:lstStyle>
            <a:p>
              <a:pPr marL="0" lvl="2" indent="0" algn="l">
                <a:spcBef>
                  <a:spcPct val="5000"/>
                </a:spcBef>
                <a:buClrTx/>
                <a:buSzPct val="100000"/>
              </a:pPr>
              <a:r>
                <a:rPr lang="en-US" altLang="en-US" b="1" dirty="0">
                  <a:solidFill>
                    <a:schemeClr val="bg1"/>
                  </a:solidFill>
                  <a:latin typeface="+mn-lt"/>
                </a:rPr>
                <a:t>4</a:t>
              </a:r>
            </a:p>
            <a:p>
              <a:pPr marL="0" lvl="2" indent="0" defTabSz="91440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Exploration of new areas of technolo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8223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7BDEA-D257-4AEF-85F4-1876FF21A0F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Action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F519B4B-D5BB-43C5-B7DA-0BF8A6D372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EA1EFA-5A56-4E97-B988-315492EFA6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r>
              <a:rPr lang="en-US" dirty="0"/>
              <a:t>Cours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5DF1FD-C666-4E93-A637-DAF5C161F4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Practical Python for Beginners: Pluralsight</a:t>
            </a:r>
          </a:p>
          <a:p>
            <a:pPr lvl="1"/>
            <a:r>
              <a:rPr lang="en-US" dirty="0"/>
              <a:t>By Sarah Holderness</a:t>
            </a:r>
          </a:p>
          <a:p>
            <a:endParaRPr lang="en-US" dirty="0"/>
          </a:p>
          <a:p>
            <a:r>
              <a:rPr lang="en-US" dirty="0"/>
              <a:t>Getting Started with Natural Language Processing with Python: Pluralsight</a:t>
            </a:r>
          </a:p>
          <a:p>
            <a:pPr lvl="1"/>
            <a:r>
              <a:rPr lang="en-US" dirty="0"/>
              <a:t>By Swetha </a:t>
            </a:r>
            <a:r>
              <a:rPr lang="en-US" dirty="0" err="1"/>
              <a:t>Kolalapudi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C7C639-8FC1-4123-B1BE-7820E738B6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en-US" dirty="0"/>
              <a:t>Python for Data Analysts: Pluralsight</a:t>
            </a:r>
          </a:p>
          <a:p>
            <a:pPr lvl="1"/>
            <a:r>
              <a:rPr lang="en-US" dirty="0"/>
              <a:t>Learning Path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60E5B479-EDA9-4926-8621-CB21C6754C4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/>
          <a:srcRect l="22441" r="22441"/>
          <a:stretch/>
        </p:blipFill>
        <p:spPr/>
      </p:pic>
    </p:spTree>
    <p:extLst>
      <p:ext uri="{BB962C8B-B14F-4D97-AF65-F5344CB8AC3E}">
        <p14:creationId xmlns:p14="http://schemas.microsoft.com/office/powerpoint/2010/main" val="569511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7ECF649B-5222-430C-8B66-C4F5E43D2786}"/>
              </a:ext>
            </a:extLst>
          </p:cNvPr>
          <p:cNvSpPr txBox="1">
            <a:spLocks/>
          </p:cNvSpPr>
          <p:nvPr/>
        </p:nvSpPr>
        <p:spPr bwMode="gray">
          <a:xfrm>
            <a:off x="227012" y="1636260"/>
            <a:ext cx="11737975" cy="4286931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spcBef>
                <a:spcPts val="0"/>
              </a:spcBef>
              <a:buFont typeface="Credit Suisse Type Light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8288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69875" algn="l" defTabSz="914400" rtl="0" eaLnBrk="1" latinLnBrk="0" hangingPunct="1">
              <a:spcBef>
                <a:spcPts val="0"/>
              </a:spcBef>
              <a:buFont typeface="Credit Suisse Type Light" pitchFamily="34" charset="0"/>
              <a:buChar char="–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4613" indent="-268288" algn="l" defTabSz="914400" rtl="0" eaLnBrk="1" latinLnBrk="0" hangingPunct="1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prstClr val="black"/>
              </a:buClr>
              <a:buNone/>
            </a:pPr>
            <a:r>
              <a:rPr lang="en-US" sz="16600" dirty="0">
                <a:solidFill>
                  <a:prstClr val="black"/>
                </a:solidFill>
                <a:latin typeface="+mj-lt"/>
              </a:rPr>
              <a:t>Feedback</a:t>
            </a:r>
            <a:endParaRPr lang="en-US" sz="1100" dirty="0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95721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B7B3F79C-4490-4894-B0A4-B3069641360C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A4068A79-738C-43AB-9B4F-9920C2BC4D37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39A9F21E-9C9F-46C9-A4E3-7FB74C121B93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35C26BB5-3E4E-4090-8C74-F1D114BA7DCE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BFD58836-1A7A-49D3-80A1-12EA531AD3B3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Credit Suisse PPT Template_16by9_EN_0604.potx" id="{4AA442C1-74BC-4653-8ACB-4B391D47EF05}" vid="{D4F2E445-F92C-47B9-833F-2CEED01AC7D7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</TotalTime>
  <Words>336</Words>
  <Application>Microsoft Office PowerPoint</Application>
  <PresentationFormat>Widescreen</PresentationFormat>
  <Paragraphs>104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Credit Suisse Type Light</vt:lpstr>
      <vt:lpstr>Calibri</vt:lpstr>
      <vt:lpstr>Credit Suisse Type Roman</vt:lpstr>
      <vt:lpstr>Wingdings</vt:lpstr>
      <vt:lpstr>Credit Suisse Headline</vt:lpstr>
      <vt:lpstr>Arial</vt:lpstr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hink-cell Slide</vt:lpstr>
      <vt:lpstr>CoP Hackathon 2022</vt:lpstr>
      <vt:lpstr>Agenda</vt:lpstr>
      <vt:lpstr>Team Introduction</vt:lpstr>
      <vt:lpstr>PowerPoint Presentation</vt:lpstr>
      <vt:lpstr>Demo</vt:lpstr>
      <vt:lpstr>Future Scope</vt:lpstr>
      <vt:lpstr>Learnings</vt:lpstr>
      <vt:lpstr>Ac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rst, Steve (LMAA 2)</dc:creator>
  <cp:lastModifiedBy>Singh, Kaustubh (MNCG 54)</cp:lastModifiedBy>
  <cp:revision>178</cp:revision>
  <dcterms:created xsi:type="dcterms:W3CDTF">2022-04-04T13:14:16Z</dcterms:created>
  <dcterms:modified xsi:type="dcterms:W3CDTF">2022-09-18T21:4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3:13:03.3712888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cdd4ec03-ee88-4f3c-9252-298768d1c3b6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Sensitivity">
    <vt:lpwstr>Unrestricted</vt:lpwstr>
  </property>
</Properties>
</file>